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4"/>
  </p:notesMasterIdLst>
  <p:sldIdLst>
    <p:sldId id="353" r:id="rId3"/>
    <p:sldId id="2147377372" r:id="rId4"/>
    <p:sldId id="258" r:id="rId5"/>
    <p:sldId id="259" r:id="rId6"/>
    <p:sldId id="260" r:id="rId7"/>
    <p:sldId id="261" r:id="rId8"/>
    <p:sldId id="265" r:id="rId9"/>
    <p:sldId id="266" r:id="rId10"/>
    <p:sldId id="263" r:id="rId11"/>
    <p:sldId id="264" r:id="rId12"/>
    <p:sldId id="267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31B84EB-6FC7-4294-AC23-6C3A3235F029}">
          <p14:sldIdLst>
            <p14:sldId id="353"/>
            <p14:sldId id="2147377372"/>
          </p14:sldIdLst>
        </p14:section>
        <p14:section name="基本信息" id="{C64141AB-2881-4551-9587-EFF3C14C7D44}">
          <p14:sldIdLst>
            <p14:sldId id="258"/>
          </p14:sldIdLst>
        </p14:section>
        <p14:section name="疾病负担及未满足需求" id="{2ED57475-7F60-469A-8447-DCFD531B3BC5}">
          <p14:sldIdLst>
            <p14:sldId id="259"/>
          </p14:sldIdLst>
        </p14:section>
        <p14:section name="安全性" id="{98F21871-83B8-46CD-84CA-74728A697603}">
          <p14:sldIdLst>
            <p14:sldId id="260"/>
          </p14:sldIdLst>
        </p14:section>
        <p14:section name="有效性" id="{B85A10DA-E9D6-40DA-A8D8-86B157D3F6B1}">
          <p14:sldIdLst>
            <p14:sldId id="261"/>
            <p14:sldId id="265"/>
            <p14:sldId id="266"/>
          </p14:sldIdLst>
        </p14:section>
        <p14:section name="创新性" id="{67223A08-7EF2-4104-A93D-4E27856134A7}">
          <p14:sldIdLst>
            <p14:sldId id="263"/>
            <p14:sldId id="264"/>
          </p14:sldIdLst>
        </p14:section>
        <p14:section name="公平性" id="{9751943E-8769-49C3-90DA-474E1D8A7308}">
          <p14:sldIdLst>
            <p14:sldId id="26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DD64C94-BD53-B901-81A8-A76391F52920}" name="Royi Chen" initials="RC" userId="S::royi.chen@lilly.com::2b2f0b2a-4027-4431-9a5b-a306a3ec627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C1ABC31-3CC8-4BC6-AD06-D8A5B09BDF49}" v="5" dt="2023-07-13T03:19:32.28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microsoft.com/office/2018/10/relationships/authors" Target="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yi Chen" userId="2b2f0b2a-4027-4431-9a5b-a306a3ec627b" providerId="ADAL" clId="{AC1ABC31-3CC8-4BC6-AD06-D8A5B09BDF49}"/>
    <pc:docChg chg="undo custSel addSld delSld modSld addSection modSection">
      <pc:chgData name="Royi Chen" userId="2b2f0b2a-4027-4431-9a5b-a306a3ec627b" providerId="ADAL" clId="{AC1ABC31-3CC8-4BC6-AD06-D8A5B09BDF49}" dt="2023-07-13T03:20:58.648" v="23" actId="17846"/>
      <pc:docMkLst>
        <pc:docMk/>
      </pc:docMkLst>
      <pc:sldChg chg="delCm">
        <pc:chgData name="Royi Chen" userId="2b2f0b2a-4027-4431-9a5b-a306a3ec627b" providerId="ADAL" clId="{AC1ABC31-3CC8-4BC6-AD06-D8A5B09BDF49}" dt="2023-07-13T03:19:42.061" v="10"/>
        <pc:sldMkLst>
          <pc:docMk/>
          <pc:sldMk cId="832403586" sldId="25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oyi Chen" userId="2b2f0b2a-4027-4431-9a5b-a306a3ec627b" providerId="ADAL" clId="{AC1ABC31-3CC8-4BC6-AD06-D8A5B09BDF49}" dt="2023-07-13T03:19:42.061" v="10"/>
              <pc2:cmMkLst xmlns:pc2="http://schemas.microsoft.com/office/powerpoint/2019/9/main/command">
                <pc:docMk/>
                <pc:sldMk cId="832403586" sldId="259"/>
                <pc2:cmMk id="{24AE2CC4-DEDA-41EE-956F-C5A0426A950F}"/>
              </pc2:cmMkLst>
            </pc226:cmChg>
          </p:ext>
        </pc:extLst>
      </pc:sldChg>
      <pc:sldChg chg="add del">
        <pc:chgData name="Royi Chen" userId="2b2f0b2a-4027-4431-9a5b-a306a3ec627b" providerId="ADAL" clId="{AC1ABC31-3CC8-4BC6-AD06-D8A5B09BDF49}" dt="2023-07-13T03:19:45.586" v="11" actId="47"/>
        <pc:sldMkLst>
          <pc:docMk/>
          <pc:sldMk cId="173852897" sldId="262"/>
        </pc:sldMkLst>
      </pc:sldChg>
      <pc:sldChg chg="add del">
        <pc:chgData name="Royi Chen" userId="2b2f0b2a-4027-4431-9a5b-a306a3ec627b" providerId="ADAL" clId="{AC1ABC31-3CC8-4BC6-AD06-D8A5B09BDF49}" dt="2023-07-13T03:19:35.053" v="9" actId="47"/>
        <pc:sldMkLst>
          <pc:docMk/>
          <pc:sldMk cId="2435632891" sldId="2147377371"/>
        </pc:sldMkLst>
      </pc:sldChg>
      <pc:sldChg chg="add del">
        <pc:chgData name="Royi Chen" userId="2b2f0b2a-4027-4431-9a5b-a306a3ec627b" providerId="ADAL" clId="{AC1ABC31-3CC8-4BC6-AD06-D8A5B09BDF49}" dt="2023-07-13T03:19:14.379" v="7"/>
        <pc:sldMkLst>
          <pc:docMk/>
          <pc:sldMk cId="280574883" sldId="2147377372"/>
        </pc:sldMkLst>
      </pc:sldChg>
      <pc:sldChg chg="add">
        <pc:chgData name="Royi Chen" userId="2b2f0b2a-4027-4431-9a5b-a306a3ec627b" providerId="ADAL" clId="{AC1ABC31-3CC8-4BC6-AD06-D8A5B09BDF49}" dt="2023-07-13T03:19:32.287" v="8"/>
        <pc:sldMkLst>
          <pc:docMk/>
          <pc:sldMk cId="2179732669" sldId="2147377372"/>
        </pc:sldMkLst>
      </pc:sldChg>
      <pc:sldChg chg="add del">
        <pc:chgData name="Royi Chen" userId="2b2f0b2a-4027-4431-9a5b-a306a3ec627b" providerId="ADAL" clId="{AC1ABC31-3CC8-4BC6-AD06-D8A5B09BDF49}" dt="2023-07-13T03:18:51.470" v="1"/>
        <pc:sldMkLst>
          <pc:docMk/>
          <pc:sldMk cId="2782261374" sldId="2147377372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5C6A0B-F0D9-4B96-BBC4-6A8F92B288B6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32A0F8-67C6-4711-9938-52BB587FC3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3527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13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6FBF04-216A-4AA3-8CE4-1F87A92F4DD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pPr marL="0" marR="0" lvl="0" indent="0" algn="r" defTabSz="10138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94573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E649DA-7701-C145-EFA2-510FFC7507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5323A98-FB0F-3A1A-51B2-74A1CE6297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F6DFF5-2112-7717-F463-34A038B06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DEFB6-FD4E-4346-993F-CDDB2D7D87DC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7ECFC8-0ABC-6562-BFC1-6A193A96EB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3EF119-6BCE-58CA-8C5E-393DCD6DA5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59412-C0FB-45FF-A3D1-B8BEAB20AE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59956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2719F5-70DA-3388-8DD6-ECC283D86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957050F-FB32-7B5A-C836-CC0C8290AAB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4D4EFE-AFC1-5899-C181-13DD3B6B2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DEFB6-FD4E-4346-993F-CDDB2D7D87DC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BAAA96-FB1B-0C3E-56A3-AEA8BF8A1E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20058C-C7F4-F660-BE42-44195EF6D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59412-C0FB-45FF-A3D1-B8BEAB20AE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2478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C706C12-5CD1-BE78-B95B-6808E847FD5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AEF3271-AEB8-A473-B3E0-3ADA7CA806E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EEB1E6-DC76-BB88-1348-50CAC4E490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DEFB6-FD4E-4346-993F-CDDB2D7D87DC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DD8ACA-39DA-A84B-1BAB-11A6E7E5BB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23441E-DB89-D01A-35EB-2895D0AF3A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59412-C0FB-45FF-A3D1-B8BEAB20AE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518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>
            <a:extLst>
              <a:ext uri="{FF2B5EF4-FFF2-40B4-BE49-F238E27FC236}">
                <a16:creationId xmlns:a16="http://schemas.microsoft.com/office/drawing/2014/main" id="{B2CFBE84-BB16-5143-9299-0F6B26DB3602}"/>
              </a:ext>
            </a:extLst>
          </p:cNvPr>
          <p:cNvSpPr txBox="1">
            <a:spLocks/>
          </p:cNvSpPr>
          <p:nvPr userDrawn="1"/>
        </p:nvSpPr>
        <p:spPr>
          <a:xfrm>
            <a:off x="436604" y="1262658"/>
            <a:ext cx="11270713" cy="459302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Futura Medium" charset="0"/>
                <a:ea typeface="Futura Medium" charset="0"/>
                <a:cs typeface="Futura Medium" charset="0"/>
              </a:defRPr>
            </a:lvl1pPr>
          </a:lstStyle>
          <a:p>
            <a:endParaRPr kumimoji="1" lang="zh-CN" altLang="en-US" sz="1920" b="0" i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5" name="内容占位符 12">
            <a:extLst>
              <a:ext uri="{FF2B5EF4-FFF2-40B4-BE49-F238E27FC236}">
                <a16:creationId xmlns:a16="http://schemas.microsoft.com/office/drawing/2014/main" id="{002C4F22-AD25-274C-A629-E64F073156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6563" y="5593599"/>
            <a:ext cx="11271250" cy="365125"/>
          </a:xfrm>
          <a:prstGeom prst="rect">
            <a:avLst/>
          </a:prstGeom>
        </p:spPr>
        <p:txBody>
          <a:bodyPr/>
          <a:lstStyle>
            <a:lvl1pPr marL="0" indent="0">
              <a:buFont typeface="+mj-lt"/>
              <a:buNone/>
              <a:defRPr sz="1008" b="0" i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icrosoft YaHei" panose="020B0503020204020204" pitchFamily="34" charset="-122"/>
              </a:defRPr>
            </a:lvl1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8" name="幻灯片编号占位符 5">
            <a:extLst>
              <a:ext uri="{FF2B5EF4-FFF2-40B4-BE49-F238E27FC236}">
                <a16:creationId xmlns:a16="http://schemas.microsoft.com/office/drawing/2014/main" id="{988345C6-D52C-C24C-BC7A-714DF3F23D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905000" y="630692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52">
                <a:solidFill>
                  <a:schemeClr val="accent3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Futura Medium" charset="0"/>
              </a:defRPr>
            </a:lvl1pPr>
          </a:lstStyle>
          <a:p>
            <a:fld id="{72772C3A-250C-3E49-AB6D-0FA1B4AB9EF1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7802423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幻灯片编号占位符 5">
            <a:extLst>
              <a:ext uri="{FF2B5EF4-FFF2-40B4-BE49-F238E27FC236}">
                <a16:creationId xmlns:a16="http://schemas.microsoft.com/office/drawing/2014/main" id="{7EF0F849-2C6E-0C4B-B825-A40D68E0A0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905000" y="630692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52">
                <a:solidFill>
                  <a:schemeClr val="accent3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Futura Medium" charset="0"/>
              </a:defRPr>
            </a:lvl1pPr>
          </a:lstStyle>
          <a:p>
            <a:fld id="{72772C3A-250C-3E49-AB6D-0FA1B4AB9EF1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684311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>
            <a:extLst>
              <a:ext uri="{FF2B5EF4-FFF2-40B4-BE49-F238E27FC236}">
                <a16:creationId xmlns:a16="http://schemas.microsoft.com/office/drawing/2014/main" id="{33C2E07E-A004-204D-9575-ADFF53DFB0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6604" y="298393"/>
            <a:ext cx="11270713" cy="637674"/>
          </a:xfrm>
          <a:prstGeom prst="rect">
            <a:avLst/>
          </a:prstGeom>
        </p:spPr>
        <p:txBody>
          <a:bodyPr anchor="ctr"/>
          <a:lstStyle>
            <a:lvl1pPr algn="l">
              <a:defRPr sz="2880" b="1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Futura Medium" charset="0"/>
              </a:defRPr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11" name="幻灯片编号占位符 5">
            <a:extLst>
              <a:ext uri="{FF2B5EF4-FFF2-40B4-BE49-F238E27FC236}">
                <a16:creationId xmlns:a16="http://schemas.microsoft.com/office/drawing/2014/main" id="{46A50239-ED69-2D4A-B92E-A8ACCA27D8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905000" y="630692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52">
                <a:solidFill>
                  <a:schemeClr val="accent3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Futura Medium" charset="0"/>
              </a:defRPr>
            </a:lvl1pPr>
          </a:lstStyle>
          <a:p>
            <a:fld id="{72772C3A-250C-3E49-AB6D-0FA1B4AB9EF1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6477907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-1905000" y="6306923"/>
            <a:ext cx="2743200" cy="365125"/>
          </a:xfrm>
          <a:prstGeom prst="rect">
            <a:avLst/>
          </a:prstGeom>
        </p:spPr>
        <p:txBody>
          <a:bodyPr/>
          <a:lstStyle/>
          <a:p>
            <a:fld id="{72772C3A-250C-3E49-AB6D-0FA1B4AB9EF1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pic>
        <p:nvPicPr>
          <p:cNvPr id="3" name="图片 2" descr="图片包含 物体&#10;&#10;描述已自动生成">
            <a:extLst>
              <a:ext uri="{FF2B5EF4-FFF2-40B4-BE49-F238E27FC236}">
                <a16:creationId xmlns:a16="http://schemas.microsoft.com/office/drawing/2014/main" id="{42709BCB-8F00-7340-9D67-F7D047736A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9050"/>
            <a:ext cx="12192000" cy="6678951"/>
          </a:xfrm>
          <a:prstGeom prst="rect">
            <a:avLst/>
          </a:prstGeom>
        </p:spPr>
      </p:pic>
      <p:pic>
        <p:nvPicPr>
          <p:cNvPr id="4" name="图片 3">
            <a:extLst>
              <a:ext uri="{FF2B5EF4-FFF2-40B4-BE49-F238E27FC236}">
                <a16:creationId xmlns:a16="http://schemas.microsoft.com/office/drawing/2014/main" id="{F65B1281-EC4D-7D45-BD3D-15BD7270C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</a:blip>
          <a:stretch>
            <a:fillRect/>
          </a:stretch>
        </p:blipFill>
        <p:spPr>
          <a:xfrm>
            <a:off x="231820" y="3830818"/>
            <a:ext cx="10668000" cy="23622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F84D1EE9-13D7-9342-8CA2-F6DDD47500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4546" b="24364"/>
          <a:stretch/>
        </p:blipFill>
        <p:spPr>
          <a:xfrm>
            <a:off x="11108595" y="126903"/>
            <a:ext cx="782443" cy="561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0408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0161918" y="5710687"/>
            <a:ext cx="1857555" cy="1147313"/>
          </a:xfrm>
          <a:prstGeom prst="rect">
            <a:avLst/>
          </a:prstGeom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16"/>
          </a:p>
        </p:txBody>
      </p:sp>
      <p:sp>
        <p:nvSpPr>
          <p:cNvPr id="3" name="Rounded Rectangular Callout 2"/>
          <p:cNvSpPr/>
          <p:nvPr userDrawn="1"/>
        </p:nvSpPr>
        <p:spPr>
          <a:xfrm>
            <a:off x="1013207" y="718265"/>
            <a:ext cx="10165587" cy="3810752"/>
          </a:xfrm>
          <a:prstGeom prst="wedgeRoundRectCallout">
            <a:avLst>
              <a:gd name="adj1" fmla="val -34881"/>
              <a:gd name="adj2" fmla="val 67482"/>
              <a:gd name="adj3" fmla="val 16667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16"/>
          </a:p>
        </p:txBody>
      </p:sp>
    </p:spTree>
    <p:extLst>
      <p:ext uri="{BB962C8B-B14F-4D97-AF65-F5344CB8AC3E}">
        <p14:creationId xmlns:p14="http://schemas.microsoft.com/office/powerpoint/2010/main" val="19829297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02191"/>
            <a:ext cx="10972800" cy="45938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09600" y="6096000"/>
            <a:ext cx="10972800" cy="36576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960">
                <a:latin typeface="Arial Narrow" panose="020B0606020202030204" pitchFamily="34" charset="0"/>
              </a:defRPr>
            </a:lvl1pPr>
            <a:lvl2pPr marL="438958" indent="0">
              <a:buNone/>
              <a:defRPr sz="1152">
                <a:latin typeface="Arial Narrow" panose="020B0606020202030204" pitchFamily="34" charset="0"/>
              </a:defRPr>
            </a:lvl2pPr>
            <a:lvl3pPr marL="877916" indent="0">
              <a:buNone/>
              <a:defRPr sz="1152">
                <a:latin typeface="Arial Narrow" panose="020B0606020202030204" pitchFamily="34" charset="0"/>
              </a:defRPr>
            </a:lvl3pPr>
            <a:lvl4pPr marL="1316874" indent="0">
              <a:buNone/>
              <a:defRPr sz="1152">
                <a:latin typeface="Arial Narrow" panose="020B0606020202030204" pitchFamily="34" charset="0"/>
              </a:defRPr>
            </a:lvl4pPr>
            <a:lvl5pPr marL="1755833" indent="0">
              <a:buNone/>
              <a:defRPr sz="1152"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94246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AB71997-E25B-42A4-9571-07049FFCD8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47648A4A-6DD0-4CB6-A278-985F6C5C7E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772C3A-250C-3E49-AB6D-0FA1B4AB9EF1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150639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. 内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8210A59F-8214-4C43-A98E-736083DB36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149" cy="6855834"/>
          </a:xfrm>
          <a:prstGeom prst="rect">
            <a:avLst/>
          </a:prstGeom>
        </p:spPr>
      </p:pic>
      <p:sp>
        <p:nvSpPr>
          <p:cNvPr id="11" name="内容占位符 12">
            <a:extLst>
              <a:ext uri="{FF2B5EF4-FFF2-40B4-BE49-F238E27FC236}">
                <a16:creationId xmlns:a16="http://schemas.microsoft.com/office/drawing/2014/main" id="{6E0305A4-0877-144A-A450-C041D75EA43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1372" y="6306923"/>
            <a:ext cx="8577942" cy="365125"/>
          </a:xfrm>
          <a:prstGeom prst="rect">
            <a:avLst/>
          </a:prstGeom>
        </p:spPr>
        <p:txBody>
          <a:bodyPr anchor="ctr"/>
          <a:lstStyle>
            <a:lvl1pPr marL="134126" indent="-134126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tabLst/>
              <a:defRPr sz="672" b="0" i="0">
                <a:solidFill>
                  <a:schemeClr val="bg1">
                    <a:lumMod val="50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Microsoft YaHei" panose="020B0503020204020204" pitchFamily="34" charset="-122"/>
              </a:defRPr>
            </a:lvl1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F1240819-88F8-F74C-8136-EF7CD27E5DF2}"/>
              </a:ext>
            </a:extLst>
          </p:cNvPr>
          <p:cNvSpPr/>
          <p:nvPr userDrawn="1"/>
        </p:nvSpPr>
        <p:spPr>
          <a:xfrm>
            <a:off x="424543" y="5499483"/>
            <a:ext cx="8229600" cy="4876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1916"/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B64FD407-29B4-7646-A688-45CDABF544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0629" y="6306923"/>
            <a:ext cx="370114" cy="365125"/>
          </a:xfrm>
        </p:spPr>
        <p:txBody>
          <a:bodyPr/>
          <a:lstStyle>
            <a:lvl1pPr algn="ctr">
              <a:defRPr sz="1008" b="0" i="0">
                <a:solidFill>
                  <a:schemeClr val="accent4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fld id="{72772C3A-250C-3E49-AB6D-0FA1B4AB9EF1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cxnSp>
        <p:nvCxnSpPr>
          <p:cNvPr id="15" name="直线连接符 14">
            <a:extLst>
              <a:ext uri="{FF2B5EF4-FFF2-40B4-BE49-F238E27FC236}">
                <a16:creationId xmlns:a16="http://schemas.microsoft.com/office/drawing/2014/main" id="{8B32E4EB-DA23-EE4D-AE46-7849805C9A0C}"/>
              </a:ext>
            </a:extLst>
          </p:cNvPr>
          <p:cNvCxnSpPr/>
          <p:nvPr userDrawn="1"/>
        </p:nvCxnSpPr>
        <p:spPr>
          <a:xfrm>
            <a:off x="490151" y="6400801"/>
            <a:ext cx="0" cy="172995"/>
          </a:xfrm>
          <a:prstGeom prst="line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标题 1">
            <a:extLst>
              <a:ext uri="{FF2B5EF4-FFF2-40B4-BE49-F238E27FC236}">
                <a16:creationId xmlns:a16="http://schemas.microsoft.com/office/drawing/2014/main" id="{B7921017-97EE-3F4D-A5E2-9FE74F2DE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9920" y="372805"/>
            <a:ext cx="10465129" cy="625069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kumimoji="1" lang="zh-CN" altLang="en-US" sz="2688" b="1" dirty="0">
                <a:solidFill>
                  <a:srgbClr val="499C3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defRPr>
            </a:lvl1pPr>
          </a:lstStyle>
          <a:p>
            <a:pPr marL="0" lvl="0" indent="0">
              <a:spcBef>
                <a:spcPts val="960"/>
              </a:spcBef>
              <a:buFont typeface="Arial"/>
            </a:pPr>
            <a:r>
              <a:rPr kumimoji="1"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78441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33">
          <p15:clr>
            <a:srgbClr val="FBAE40"/>
          </p15:clr>
        </p15:guide>
        <p15:guide id="2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7A4B6A-D662-DB6D-3512-6FE6CCF4A7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565828-CA4C-F643-35A3-9EC979DE44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2EEFEC-4E08-E4D4-8C02-433898DECC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DEFB6-FD4E-4346-993F-CDDB2D7D87DC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93099D-8C92-1CEA-3C86-5364DE0B2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565CC7-C586-763B-01CF-7D88327B48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59412-C0FB-45FF-A3D1-B8BEAB20AE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9581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封面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>
            <a:extLst>
              <a:ext uri="{FF2B5EF4-FFF2-40B4-BE49-F238E27FC236}">
                <a16:creationId xmlns:a16="http://schemas.microsoft.com/office/drawing/2014/main" id="{5B30C6C6-9CC6-8A3D-1051-32091F68A5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916" y="0"/>
            <a:ext cx="12204917" cy="6858000"/>
          </a:xfrm>
          <a:prstGeom prst="rect">
            <a:avLst/>
          </a:prstGeom>
        </p:spPr>
      </p:pic>
      <p:sp>
        <p:nvSpPr>
          <p:cNvPr id="10" name="副标题 2">
            <a:extLst>
              <a:ext uri="{FF2B5EF4-FFF2-40B4-BE49-F238E27FC236}">
                <a16:creationId xmlns:a16="http://schemas.microsoft.com/office/drawing/2014/main" id="{6AE8AC20-6B2A-E54E-9DFD-38840FF4C47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57312" y="2993505"/>
            <a:ext cx="8902337" cy="69722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456">
                <a:solidFill>
                  <a:srgbClr val="62A55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  <a:lvl2pPr marL="438958" indent="0" algn="ctr">
              <a:buNone/>
              <a:defRPr sz="1920"/>
            </a:lvl2pPr>
            <a:lvl3pPr marL="877916" indent="0" algn="ctr">
              <a:buNone/>
              <a:defRPr sz="1728"/>
            </a:lvl3pPr>
            <a:lvl4pPr marL="1316874" indent="0" algn="ctr">
              <a:buNone/>
              <a:defRPr sz="1536"/>
            </a:lvl4pPr>
            <a:lvl5pPr marL="1755833" indent="0" algn="ctr">
              <a:buNone/>
              <a:defRPr sz="1536"/>
            </a:lvl5pPr>
            <a:lvl6pPr marL="2194791" indent="0" algn="ctr">
              <a:buNone/>
              <a:defRPr sz="1536"/>
            </a:lvl6pPr>
            <a:lvl7pPr marL="2633748" indent="0" algn="ctr">
              <a:buNone/>
              <a:defRPr sz="1536"/>
            </a:lvl7pPr>
            <a:lvl8pPr marL="3072707" indent="0" algn="ctr">
              <a:buNone/>
              <a:defRPr sz="1536"/>
            </a:lvl8pPr>
            <a:lvl9pPr marL="3511665" indent="0" algn="ctr">
              <a:buNone/>
              <a:defRPr sz="1536"/>
            </a:lvl9pPr>
          </a:lstStyle>
          <a:p>
            <a:r>
              <a:rPr kumimoji="1" lang="zh-CN" altLang="en-US"/>
              <a:t>单击此处编辑母版副标题</a:t>
            </a:r>
          </a:p>
        </p:txBody>
      </p:sp>
      <p:sp>
        <p:nvSpPr>
          <p:cNvPr id="7" name="标题 1">
            <a:extLst>
              <a:ext uri="{FF2B5EF4-FFF2-40B4-BE49-F238E27FC236}">
                <a16:creationId xmlns:a16="http://schemas.microsoft.com/office/drawing/2014/main" id="{F4441359-E468-C146-A738-E9E289D45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6427" y="2015936"/>
            <a:ext cx="8913223" cy="946654"/>
          </a:xfrm>
          <a:prstGeom prst="rect">
            <a:avLst/>
          </a:prstGeom>
          <a:noFill/>
        </p:spPr>
        <p:txBody>
          <a:bodyPr anchor="ctr"/>
          <a:lstStyle>
            <a:lvl1pPr algn="l">
              <a:defRPr sz="5761" b="1">
                <a:solidFill>
                  <a:schemeClr val="tx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endParaRPr kumimoji="1" lang="zh-CN" altLang="en-US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183E1393-F417-4C4E-A35D-A331665BC0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0629" y="6306923"/>
            <a:ext cx="370114" cy="365125"/>
          </a:xfrm>
        </p:spPr>
        <p:txBody>
          <a:bodyPr/>
          <a:lstStyle>
            <a:lvl1pPr algn="ctr">
              <a:defRPr sz="1008" b="0" i="0">
                <a:solidFill>
                  <a:schemeClr val="accent4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fld id="{72772C3A-250C-3E49-AB6D-0FA1B4AB9EF1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cxnSp>
        <p:nvCxnSpPr>
          <p:cNvPr id="13" name="直线连接符 12">
            <a:extLst>
              <a:ext uri="{FF2B5EF4-FFF2-40B4-BE49-F238E27FC236}">
                <a16:creationId xmlns:a16="http://schemas.microsoft.com/office/drawing/2014/main" id="{F31F4C3F-CEB0-1A42-9B91-7809587C4758}"/>
              </a:ext>
            </a:extLst>
          </p:cNvPr>
          <p:cNvCxnSpPr/>
          <p:nvPr userDrawn="1"/>
        </p:nvCxnSpPr>
        <p:spPr>
          <a:xfrm>
            <a:off x="490151" y="6400801"/>
            <a:ext cx="0" cy="172995"/>
          </a:xfrm>
          <a:prstGeom prst="line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4">
            <a:extLst>
              <a:ext uri="{FF2B5EF4-FFF2-40B4-BE49-F238E27FC236}">
                <a16:creationId xmlns:a16="http://schemas.microsoft.com/office/drawing/2014/main" id="{755CE076-476B-6F25-72FF-A3C5C4FCA4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06" t="45696" r="89638" b="22524"/>
          <a:stretch/>
        </p:blipFill>
        <p:spPr>
          <a:xfrm>
            <a:off x="1" y="0"/>
            <a:ext cx="1251750" cy="1553592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F5B48C62-A01D-DD76-9489-5A5494792E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06" t="130" r="89638" b="18507"/>
          <a:stretch/>
        </p:blipFill>
        <p:spPr>
          <a:xfrm>
            <a:off x="1" y="1278053"/>
            <a:ext cx="1251750" cy="557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309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33">
          <p15:clr>
            <a:srgbClr val="FBAE40"/>
          </p15:clr>
        </p15:guide>
        <p15:guide id="2" pos="432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366BC591-89CA-4143-B202-A14EB8936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1396" y="1"/>
            <a:ext cx="10216837" cy="1016003"/>
          </a:xfrm>
          <a:prstGeom prst="rect">
            <a:avLst/>
          </a:prstGeom>
        </p:spPr>
        <p:txBody>
          <a:bodyPr vert="horz" lIns="91438" tIns="45719" rIns="91438" bIns="45719" rtlCol="0" anchor="ctr">
            <a:normAutofit/>
          </a:bodyPr>
          <a:lstStyle>
            <a:lvl1pPr>
              <a:defRPr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40C5B9D-6C57-4EE1-8C65-BE2C93929C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73114" y="5984400"/>
            <a:ext cx="10556875" cy="568802"/>
          </a:xfrm>
        </p:spPr>
        <p:txBody>
          <a:bodyPr anchor="b">
            <a:noAutofit/>
          </a:bodyPr>
          <a:lstStyle>
            <a:lvl1pPr marL="0" indent="0">
              <a:lnSpc>
                <a:spcPct val="80000"/>
              </a:lnSpc>
              <a:spcBef>
                <a:spcPts val="0"/>
              </a:spcBef>
              <a:buNone/>
              <a:defRPr sz="1152"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Click to add footer text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24BBFDC-A11C-4A9D-ADF6-A255653A30EF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778335" y="1142019"/>
            <a:ext cx="10537365" cy="4716365"/>
          </a:xfrm>
          <a:prstGeom prst="rect">
            <a:avLst/>
          </a:prstGeom>
        </p:spPr>
        <p:txBody>
          <a:bodyPr vert="horz" lIns="91438" tIns="45719" rIns="91438" bIns="4571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E70D4E-0506-465B-920A-32C75DA6EE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38347" y="6639440"/>
            <a:ext cx="4715309" cy="218564"/>
          </a:xfrm>
          <a:prstGeom prst="rect">
            <a:avLst/>
          </a:prstGeom>
        </p:spPr>
        <p:txBody>
          <a:bodyPr vert="horz" lIns="91438" tIns="45719" rIns="91438" bIns="45719" rtlCol="0" anchor="t"/>
          <a:lstStyle>
            <a:lvl1pPr algn="ctr">
              <a:defRPr sz="672">
                <a:solidFill>
                  <a:srgbClr val="FFFFFF"/>
                </a:solidFill>
                <a:latin typeface="Arial Narrow"/>
                <a:cs typeface="Arial Narrow"/>
              </a:defRPr>
            </a:lvl1pPr>
          </a:lstStyle>
          <a:p>
            <a:pPr defTabSz="438948">
              <a:defRPr/>
            </a:pPr>
            <a:r>
              <a:rPr lang="en-US"/>
              <a:t>Company Confidential © 2019 Eli Lilly and Company. Internal use only. Please do not use/share this material outside of Lilly.</a:t>
            </a:r>
          </a:p>
        </p:txBody>
      </p:sp>
    </p:spTree>
    <p:extLst>
      <p:ext uri="{BB962C8B-B14F-4D97-AF65-F5344CB8AC3E}">
        <p14:creationId xmlns:p14="http://schemas.microsoft.com/office/powerpoint/2010/main" val="12973193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9184" y="96938"/>
            <a:ext cx="11676888" cy="850392"/>
          </a:xfrm>
        </p:spPr>
        <p:txBody>
          <a:bodyPr/>
          <a:lstStyle>
            <a:lvl1pPr>
              <a:defRPr sz="2688" b="1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16399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5910C0-F0E4-3B4A-8D46-358441509B60}" type="datetime1">
              <a:rPr lang="en-US"/>
              <a:pPr>
                <a:defRPr/>
              </a:pPr>
              <a:t>7/1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mpany Confidential  ©2017 Eli Lilly and Company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E4A9EC-2F93-AA4A-8BF5-70DF042828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37767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>
            <a:extLst>
              <a:ext uri="{FF2B5EF4-FFF2-40B4-BE49-F238E27FC236}">
                <a16:creationId xmlns:a16="http://schemas.microsoft.com/office/drawing/2014/main" id="{33C2E07E-A004-204D-9575-ADFF53DFB0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6604" y="345955"/>
            <a:ext cx="11270713" cy="637674"/>
          </a:xfrm>
          <a:prstGeom prst="rect">
            <a:avLst/>
          </a:prstGeom>
        </p:spPr>
        <p:txBody>
          <a:bodyPr anchor="ctr"/>
          <a:lstStyle>
            <a:lvl1pPr algn="l">
              <a:defRPr sz="2880" b="1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Futura Medium" charset="0"/>
              </a:defRPr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11" name="幻灯片编号占位符 5">
            <a:extLst>
              <a:ext uri="{FF2B5EF4-FFF2-40B4-BE49-F238E27FC236}">
                <a16:creationId xmlns:a16="http://schemas.microsoft.com/office/drawing/2014/main" id="{46A50239-ED69-2D4A-B92E-A8ACCA27D8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905000" y="630692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52">
                <a:solidFill>
                  <a:schemeClr val="accent3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Futura Medium" charset="0"/>
              </a:defRPr>
            </a:lvl1pPr>
          </a:lstStyle>
          <a:p>
            <a:fld id="{72772C3A-250C-3E49-AB6D-0FA1B4AB9EF1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8552773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0834C7-38D8-DCEF-0671-9BE47BC66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53E56E-67E2-9F99-DE41-0F8AF590CF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1E1FDC-B087-9445-3CDA-F32A8A4646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DEFB6-FD4E-4346-993F-CDDB2D7D87DC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518425-E1FF-8C07-C5AB-25CA410FD6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B16336-6D2B-CF18-4BAA-6EACDC999F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59412-C0FB-45FF-A3D1-B8BEAB20AE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8330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0BC678-C6BC-DDE2-527C-8B31059A03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58AD7F-74A0-2B40-5043-8F2E9BA809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034D5CE-F1D4-EEFA-2CC0-C495529397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436428-71D6-2F3B-4023-B674891EC1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DEFB6-FD4E-4346-993F-CDDB2D7D87DC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3D63CD-53D4-A7C3-A17D-D1B7A02A5E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CE6FB7-678C-A826-F820-99CCB6FC00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59412-C0FB-45FF-A3D1-B8BEAB20AE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4308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8F6D0-8AF5-A636-A19B-2D07AF566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FD7C35-3511-DC61-F05E-8FA6193E5D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87B2C70-713B-521D-E302-2E0E364DC96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AD1079-878E-7013-F4D2-240E694C594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10BF018-0C5B-A7D9-749D-7CC5692EB9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075F653-0D89-E867-98D2-BB9D4DCAAC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DEFB6-FD4E-4346-993F-CDDB2D7D87DC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AF44AFC-69C8-90A4-9A07-C9F853668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E95F1BF-D154-2F1D-3D0C-40AF3537F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59412-C0FB-45FF-A3D1-B8BEAB20AE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5454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3249FE-13ED-DAF3-36CA-E76A46968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38B276-158B-6ADE-D663-ED57ED9429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DEFB6-FD4E-4346-993F-CDDB2D7D87DC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D4C3EB-3B25-A370-C480-B6AA8CDC30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A108B5-5BBC-987E-A835-105FF657B2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59412-C0FB-45FF-A3D1-B8BEAB20AE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9995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089D908-CD7B-1545-0DE1-E9086CA090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DEFB6-FD4E-4346-993F-CDDB2D7D87DC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C5F386-6B9E-BCE0-90F5-DD18264625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5B35D8-E339-0A8E-AA84-55000A564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59412-C0FB-45FF-A3D1-B8BEAB20AE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868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DA47AF-B660-AF5A-F3B7-8C05F9D1D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CC3A14-1723-26E9-6315-2999C3FB6D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19CDE-A95A-C4C3-5670-EF36305C49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F990E7-12A0-39B6-A940-DD2C4B0AC5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DEFB6-FD4E-4346-993F-CDDB2D7D87DC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F36CAC-48C9-1323-768F-3E9174700A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703635-9084-2821-5807-5B4B68468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59412-C0FB-45FF-A3D1-B8BEAB20AE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40751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E47E4-BAE0-45C8-7EFD-A6EE54F9C1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76466A-88A7-04C8-EA72-0255F8E4DEC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C6C72B-AD6F-8E39-465D-F039B05A08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716A54-947A-C46B-24DC-4126A4BE75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8DEFB6-FD4E-4346-993F-CDDB2D7D87DC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0B2596-183C-4C1E-477C-5EB80F6113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0EA61F3-5EBD-4814-6B7A-3AF95E8E4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659412-C0FB-45FF-A3D1-B8BEAB20AE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3843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FEF35A2-2990-BF2A-8DA1-6E20A638E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B71472-4F68-1FDB-395D-D3241E4D22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772CF5-4719-8958-88A9-682E525E597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DEFB6-FD4E-4346-993F-CDDB2D7D87DC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D6146D-B0BC-FE31-17D9-D0886BF12C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A41891-4FB8-A613-AACD-7B00F99291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659412-C0FB-45FF-A3D1-B8BEAB20AE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710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752A157-C275-0D28-0EBB-0A19BA7157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40148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15" imgH="416" progId="TCLayout.ActiveDocument.1">
                  <p:embed/>
                </p:oleObj>
              </mc:Choice>
              <mc:Fallback>
                <p:oleObj name="think-cell Slide" r:id="rId16" imgW="415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752A157-C275-0D28-0EBB-0A19BA715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3" descr="LILLY (color) no tag.eps">
            <a:extLst>
              <a:ext uri="{FF2B5EF4-FFF2-40B4-BE49-F238E27FC236}">
                <a16:creationId xmlns:a16="http://schemas.microsoft.com/office/drawing/2014/main" id="{D1A2B7BF-4667-EB49-BE97-E1E27F889F38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078" y="6280766"/>
            <a:ext cx="618792" cy="365125"/>
          </a:xfrm>
          <a:prstGeom prst="rect">
            <a:avLst/>
          </a:prstGeom>
        </p:spPr>
      </p:pic>
      <p:sp>
        <p:nvSpPr>
          <p:cNvPr id="19" name="幻灯片编号占位符 5">
            <a:extLst>
              <a:ext uri="{FF2B5EF4-FFF2-40B4-BE49-F238E27FC236}">
                <a16:creationId xmlns:a16="http://schemas.microsoft.com/office/drawing/2014/main" id="{B302380A-089C-E144-A1CC-4C8C1D742F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1905000" y="630692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52">
                <a:solidFill>
                  <a:schemeClr val="accent3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Futura Medium" charset="0"/>
              </a:defRPr>
            </a:lvl1pPr>
          </a:lstStyle>
          <a:p>
            <a:fld id="{72772C3A-250C-3E49-AB6D-0FA1B4AB9EF1}" type="slidenum">
              <a:rPr kumimoji="1" lang="zh-CN" altLang="en-US" smtClean="0"/>
              <a:pPr/>
              <a:t>‹#›</a:t>
            </a:fld>
            <a:endParaRPr kumimoji="1" lang="zh-CN" altLang="en-US"/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F951050C-B55F-394D-BF20-11C5A0D605CE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0960100" y="5664200"/>
            <a:ext cx="1231900" cy="11938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A65243D-81D8-8D6E-7AFA-75FFE5641B3D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56821" y="185952"/>
            <a:ext cx="875161" cy="66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890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hdr="0" ftr="0" dt="0"/>
  <p:txStyles>
    <p:titleStyle>
      <a:lvl1pPr algn="l" defTabSz="877916" rtl="0" eaLnBrk="1" latinLnBrk="0" hangingPunct="1">
        <a:lnSpc>
          <a:spcPct val="90000"/>
        </a:lnSpc>
        <a:spcBef>
          <a:spcPct val="0"/>
        </a:spcBef>
        <a:buNone/>
        <a:defRPr sz="422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479" indent="-219479" algn="l" defTabSz="877916" rtl="0" eaLnBrk="1" latinLnBrk="0" hangingPunct="1">
        <a:lnSpc>
          <a:spcPct val="90000"/>
        </a:lnSpc>
        <a:spcBef>
          <a:spcPts val="960"/>
        </a:spcBef>
        <a:buFont typeface="Arial"/>
        <a:buChar char="•"/>
        <a:defRPr sz="2688" kern="1200">
          <a:solidFill>
            <a:schemeClr val="tx1"/>
          </a:solidFill>
          <a:latin typeface="+mn-lt"/>
          <a:ea typeface="+mn-ea"/>
          <a:cs typeface="+mn-cs"/>
        </a:defRPr>
      </a:lvl1pPr>
      <a:lvl2pPr marL="658438" indent="-219479" algn="l" defTabSz="877916" rtl="0" eaLnBrk="1" latinLnBrk="0" hangingPunct="1">
        <a:lnSpc>
          <a:spcPct val="90000"/>
        </a:lnSpc>
        <a:spcBef>
          <a:spcPts val="480"/>
        </a:spcBef>
        <a:buFont typeface="Arial"/>
        <a:buChar char="•"/>
        <a:defRPr sz="2304" kern="1200">
          <a:solidFill>
            <a:schemeClr val="tx1"/>
          </a:solidFill>
          <a:latin typeface="+mn-lt"/>
          <a:ea typeface="+mn-ea"/>
          <a:cs typeface="+mn-cs"/>
        </a:defRPr>
      </a:lvl2pPr>
      <a:lvl3pPr marL="1097395" indent="-219479" algn="l" defTabSz="877916" rtl="0" eaLnBrk="1" latinLnBrk="0" hangingPunct="1">
        <a:lnSpc>
          <a:spcPct val="90000"/>
        </a:lnSpc>
        <a:spcBef>
          <a:spcPts val="480"/>
        </a:spcBef>
        <a:buFont typeface="Arial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3pPr>
      <a:lvl4pPr marL="1536353" indent="-219479" algn="l" defTabSz="877916" rtl="0" eaLnBrk="1" latinLnBrk="0" hangingPunct="1">
        <a:lnSpc>
          <a:spcPct val="90000"/>
        </a:lnSpc>
        <a:spcBef>
          <a:spcPts val="480"/>
        </a:spcBef>
        <a:buFont typeface="Arial"/>
        <a:buChar char="•"/>
        <a:defRPr sz="1728" kern="1200">
          <a:solidFill>
            <a:schemeClr val="tx1"/>
          </a:solidFill>
          <a:latin typeface="+mn-lt"/>
          <a:ea typeface="+mn-ea"/>
          <a:cs typeface="+mn-cs"/>
        </a:defRPr>
      </a:lvl4pPr>
      <a:lvl5pPr marL="1975312" indent="-219479" algn="l" defTabSz="877916" rtl="0" eaLnBrk="1" latinLnBrk="0" hangingPunct="1">
        <a:lnSpc>
          <a:spcPct val="90000"/>
        </a:lnSpc>
        <a:spcBef>
          <a:spcPts val="480"/>
        </a:spcBef>
        <a:buFont typeface="Arial"/>
        <a:buChar char="•"/>
        <a:defRPr sz="1728" kern="1200">
          <a:solidFill>
            <a:schemeClr val="tx1"/>
          </a:solidFill>
          <a:latin typeface="+mn-lt"/>
          <a:ea typeface="+mn-ea"/>
          <a:cs typeface="+mn-cs"/>
        </a:defRPr>
      </a:lvl5pPr>
      <a:lvl6pPr marL="2414269" indent="-219479" algn="l" defTabSz="877916" rtl="0" eaLnBrk="1" latinLnBrk="0" hangingPunct="1">
        <a:lnSpc>
          <a:spcPct val="90000"/>
        </a:lnSpc>
        <a:spcBef>
          <a:spcPts val="480"/>
        </a:spcBef>
        <a:buFont typeface="Arial"/>
        <a:buChar char="•"/>
        <a:defRPr sz="1728" kern="1200">
          <a:solidFill>
            <a:schemeClr val="tx1"/>
          </a:solidFill>
          <a:latin typeface="+mn-lt"/>
          <a:ea typeface="+mn-ea"/>
          <a:cs typeface="+mn-cs"/>
        </a:defRPr>
      </a:lvl6pPr>
      <a:lvl7pPr marL="2853228" indent="-219479" algn="l" defTabSz="877916" rtl="0" eaLnBrk="1" latinLnBrk="0" hangingPunct="1">
        <a:lnSpc>
          <a:spcPct val="90000"/>
        </a:lnSpc>
        <a:spcBef>
          <a:spcPts val="480"/>
        </a:spcBef>
        <a:buFont typeface="Arial"/>
        <a:buChar char="•"/>
        <a:defRPr sz="1728" kern="1200">
          <a:solidFill>
            <a:schemeClr val="tx1"/>
          </a:solidFill>
          <a:latin typeface="+mn-lt"/>
          <a:ea typeface="+mn-ea"/>
          <a:cs typeface="+mn-cs"/>
        </a:defRPr>
      </a:lvl7pPr>
      <a:lvl8pPr marL="3292186" indent="-219479" algn="l" defTabSz="877916" rtl="0" eaLnBrk="1" latinLnBrk="0" hangingPunct="1">
        <a:lnSpc>
          <a:spcPct val="90000"/>
        </a:lnSpc>
        <a:spcBef>
          <a:spcPts val="480"/>
        </a:spcBef>
        <a:buFont typeface="Arial"/>
        <a:buChar char="•"/>
        <a:defRPr sz="1728" kern="1200">
          <a:solidFill>
            <a:schemeClr val="tx1"/>
          </a:solidFill>
          <a:latin typeface="+mn-lt"/>
          <a:ea typeface="+mn-ea"/>
          <a:cs typeface="+mn-cs"/>
        </a:defRPr>
      </a:lvl8pPr>
      <a:lvl9pPr marL="3731144" indent="-219479" algn="l" defTabSz="877916" rtl="0" eaLnBrk="1" latinLnBrk="0" hangingPunct="1">
        <a:lnSpc>
          <a:spcPct val="90000"/>
        </a:lnSpc>
        <a:spcBef>
          <a:spcPts val="480"/>
        </a:spcBef>
        <a:buFont typeface="Arial"/>
        <a:buChar char="•"/>
        <a:defRPr sz="172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877916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1pPr>
      <a:lvl2pPr marL="438958" algn="l" defTabSz="877916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2pPr>
      <a:lvl3pPr marL="877916" algn="l" defTabSz="877916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3pPr>
      <a:lvl4pPr marL="1316874" algn="l" defTabSz="877916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4pPr>
      <a:lvl5pPr marL="1755833" algn="l" defTabSz="877916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5pPr>
      <a:lvl6pPr marL="2194791" algn="l" defTabSz="877916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6pPr>
      <a:lvl7pPr marL="2633748" algn="l" defTabSz="877916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7pPr>
      <a:lvl8pPr marL="3072707" algn="l" defTabSz="877916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8pPr>
      <a:lvl9pPr marL="3511665" algn="l" defTabSz="877916" rtl="0" eaLnBrk="1" latinLnBrk="0" hangingPunct="1">
        <a:defRPr sz="17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>
            <a:extLst>
              <a:ext uri="{FF2B5EF4-FFF2-40B4-BE49-F238E27FC236}">
                <a16:creationId xmlns:a16="http://schemas.microsoft.com/office/drawing/2014/main" id="{CD209DDC-B750-0285-D33B-539E0E121145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506520" y="2328939"/>
            <a:ext cx="11270713" cy="612220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4267" b="1" dirty="0">
                <a:latin typeface="Microsoft YaHei" panose="020B0503020204020204" pitchFamily="34" charset="-122"/>
                <a:ea typeface="Microsoft YaHei" panose="020B0503020204020204" pitchFamily="34" charset="-122"/>
                <a:sym typeface="Arial" panose="020B0604020202020204" pitchFamily="34" charset="0"/>
              </a:rPr>
              <a:t>依奇珠单抗注射液 （拓咨</a:t>
            </a:r>
            <a:r>
              <a:rPr lang="en-US" altLang="zh-CN" sz="4267" b="1" baseline="30000" dirty="0">
                <a:latin typeface="Microsoft YaHei" panose="020B0503020204020204" pitchFamily="34" charset="-122"/>
                <a:ea typeface="Microsoft YaHei" panose="020B0503020204020204" pitchFamily="34" charset="-122"/>
                <a:sym typeface="Arial" panose="020B0604020202020204" pitchFamily="34" charset="0"/>
              </a:rPr>
              <a:t>®</a:t>
            </a:r>
            <a:r>
              <a:rPr lang="zh-CN" altLang="en-US" sz="4267" b="1" dirty="0">
                <a:latin typeface="Microsoft YaHei" panose="020B0503020204020204" pitchFamily="34" charset="-122"/>
                <a:ea typeface="Microsoft YaHei" panose="020B0503020204020204" pitchFamily="34" charset="-122"/>
                <a:sym typeface="Arial" panose="020B0604020202020204" pitchFamily="34" charset="0"/>
              </a:rPr>
              <a:t>）</a:t>
            </a:r>
            <a:endParaRPr lang="en-US" sz="4267" baseline="30000" dirty="0">
              <a:latin typeface="Microsoft YaHei" panose="020B0503020204020204" pitchFamily="34" charset="-122"/>
              <a:ea typeface="Microsoft YaHei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D72E67-7401-6D9E-0F4C-7D5BB708C4E7}"/>
              </a:ext>
            </a:extLst>
          </p:cNvPr>
          <p:cNvSpPr txBox="1"/>
          <p:nvPr/>
        </p:nvSpPr>
        <p:spPr>
          <a:xfrm>
            <a:off x="620399" y="3449653"/>
            <a:ext cx="11042957" cy="4181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01244">
              <a:lnSpc>
                <a:spcPct val="150000"/>
              </a:lnSpc>
            </a:pPr>
            <a:r>
              <a:rPr lang="zh-CN" altLang="en-US" sz="1600" b="1" dirty="0">
                <a:solidFill>
                  <a:srgbClr val="3D54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Arial" panose="020B0604020202020204" pitchFamily="34" charset="0"/>
              </a:rPr>
              <a:t>本品符合简易续约条件，申请治疗“斑块型银屑病”适应症续约，新增治疗“强直性脊柱炎”适应症纳入医保</a:t>
            </a:r>
            <a:endParaRPr lang="en-US" sz="1600" b="1" dirty="0">
              <a:solidFill>
                <a:srgbClr val="3D5466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E1E335-02AC-5697-1552-691AFC948953}"/>
              </a:ext>
            </a:extLst>
          </p:cNvPr>
          <p:cNvSpPr txBox="1"/>
          <p:nvPr/>
        </p:nvSpPr>
        <p:spPr>
          <a:xfrm>
            <a:off x="3214723" y="6447543"/>
            <a:ext cx="5854306" cy="2837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01244"/>
            <a:r>
              <a:rPr lang="zh-CN" altLang="en-US" sz="1244" dirty="0">
                <a:solidFill>
                  <a:srgbClr val="49AA4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此资料仅用于“</a:t>
            </a:r>
            <a:r>
              <a:rPr lang="en-US" altLang="zh-CN" sz="1244" dirty="0">
                <a:solidFill>
                  <a:srgbClr val="49AA4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23</a:t>
            </a:r>
            <a:r>
              <a:rPr lang="zh-CN" altLang="en-US" sz="1244" dirty="0">
                <a:solidFill>
                  <a:srgbClr val="49AA42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国家医保目录调整”申报工作 </a:t>
            </a:r>
            <a:endParaRPr lang="en-US" sz="1244" dirty="0">
              <a:solidFill>
                <a:srgbClr val="49AA4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22D8DCB-7A4C-42D2-4704-60EB8B7D1716}"/>
              </a:ext>
            </a:extLst>
          </p:cNvPr>
          <p:cNvSpPr txBox="1"/>
          <p:nvPr/>
        </p:nvSpPr>
        <p:spPr>
          <a:xfrm>
            <a:off x="4539728" y="4910753"/>
            <a:ext cx="3204297" cy="5300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01244"/>
            <a:r>
              <a:rPr lang="zh-CN" altLang="en-US" sz="2844" b="1">
                <a:solidFill>
                  <a:srgbClr val="49AA4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</a:rPr>
              <a:t>礼来</a:t>
            </a:r>
            <a:r>
              <a:rPr lang="zh-CN" altLang="en-US" sz="1778">
                <a:solidFill>
                  <a:srgbClr val="49AA42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ea"/>
              </a:rPr>
              <a:t>贸易有限公司</a:t>
            </a:r>
            <a:endParaRPr lang="en-US" sz="2489">
              <a:solidFill>
                <a:srgbClr val="49AA42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BAC0259-C78E-3034-429F-7201A09B664C}"/>
              </a:ext>
            </a:extLst>
          </p:cNvPr>
          <p:cNvSpPr txBox="1"/>
          <p:nvPr/>
        </p:nvSpPr>
        <p:spPr>
          <a:xfrm>
            <a:off x="6695440" y="331954"/>
            <a:ext cx="57660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01244"/>
            <a:r>
              <a:rPr lang="zh-CN" altLang="en-US" sz="1600" dirty="0">
                <a:solidFill>
                  <a:srgbClr val="3D54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目录内西药，</a:t>
            </a:r>
            <a:r>
              <a:rPr lang="en-US" altLang="zh-CN" sz="1600" dirty="0">
                <a:solidFill>
                  <a:srgbClr val="3D54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2023 </a:t>
            </a:r>
            <a:r>
              <a:rPr lang="zh-CN" altLang="en-US" sz="1600" dirty="0">
                <a:solidFill>
                  <a:srgbClr val="3D54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年 </a:t>
            </a:r>
            <a:r>
              <a:rPr lang="en-US" altLang="zh-CN" sz="1600" dirty="0">
                <a:solidFill>
                  <a:srgbClr val="3D54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12 </a:t>
            </a:r>
            <a:r>
              <a:rPr lang="zh-CN" altLang="en-US" sz="1600" dirty="0">
                <a:solidFill>
                  <a:srgbClr val="3D54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月 </a:t>
            </a:r>
            <a:r>
              <a:rPr lang="en-US" altLang="zh-CN" sz="1600" dirty="0">
                <a:solidFill>
                  <a:srgbClr val="3D54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31 </a:t>
            </a:r>
            <a:r>
              <a:rPr lang="zh-CN" altLang="en-US" sz="1600" dirty="0">
                <a:solidFill>
                  <a:srgbClr val="3D5466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日协议到期的谈判药品</a:t>
            </a:r>
            <a:endParaRPr lang="en-US" sz="1600" dirty="0">
              <a:solidFill>
                <a:srgbClr val="3D5466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993E19F-F4AE-ECDE-C0B6-E4CB2265F87C}"/>
              </a:ext>
            </a:extLst>
          </p:cNvPr>
          <p:cNvCxnSpPr>
            <a:cxnSpLocks/>
          </p:cNvCxnSpPr>
          <p:nvPr/>
        </p:nvCxnSpPr>
        <p:spPr>
          <a:xfrm>
            <a:off x="996891" y="3333049"/>
            <a:ext cx="10289972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37416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01E0DB84-E003-0800-34A6-5AC31BFAFA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466"/>
            <a:ext cx="12192000" cy="672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3201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38923C01-DC50-F5A0-6E40-3B5314391E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466"/>
            <a:ext cx="12192000" cy="672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1702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4">
            <a:extLst>
              <a:ext uri="{FF2B5EF4-FFF2-40B4-BE49-F238E27FC236}">
                <a16:creationId xmlns:a16="http://schemas.microsoft.com/office/drawing/2014/main" id="{BA818B1B-9169-AF80-E24A-302CFF900D5C}"/>
              </a:ext>
            </a:extLst>
          </p:cNvPr>
          <p:cNvGrpSpPr/>
          <p:nvPr/>
        </p:nvGrpSpPr>
        <p:grpSpPr>
          <a:xfrm>
            <a:off x="2366272" y="1891892"/>
            <a:ext cx="4520376" cy="2974172"/>
            <a:chOff x="959759" y="2498022"/>
            <a:chExt cx="6306995" cy="3203496"/>
          </a:xfrm>
        </p:grpSpPr>
        <p:grpSp>
          <p:nvGrpSpPr>
            <p:cNvPr id="4" name="îṣ1idè">
              <a:extLst>
                <a:ext uri="{FF2B5EF4-FFF2-40B4-BE49-F238E27FC236}">
                  <a16:creationId xmlns:a16="http://schemas.microsoft.com/office/drawing/2014/main" id="{D7A1C98B-33A7-EF7D-94AA-BA80F8F748CE}"/>
                </a:ext>
              </a:extLst>
            </p:cNvPr>
            <p:cNvGrpSpPr/>
            <p:nvPr/>
          </p:nvGrpSpPr>
          <p:grpSpPr>
            <a:xfrm>
              <a:off x="959759" y="2498022"/>
              <a:ext cx="6306995" cy="695121"/>
              <a:chOff x="889001" y="1931965"/>
              <a:chExt cx="6306995" cy="695121"/>
            </a:xfrm>
          </p:grpSpPr>
          <p:sp>
            <p:nvSpPr>
              <p:cNvPr id="13" name="íṧḻïḍé">
                <a:extLst>
                  <a:ext uri="{FF2B5EF4-FFF2-40B4-BE49-F238E27FC236}">
                    <a16:creationId xmlns:a16="http://schemas.microsoft.com/office/drawing/2014/main" id="{66C9C376-12C0-D386-A7A9-4693192CCD14}"/>
                  </a:ext>
                </a:extLst>
              </p:cNvPr>
              <p:cNvSpPr/>
              <p:nvPr/>
            </p:nvSpPr>
            <p:spPr>
              <a:xfrm>
                <a:off x="889001" y="1931965"/>
                <a:ext cx="4265813" cy="695121"/>
              </a:xfrm>
              <a:prstGeom prst="rect">
                <a:avLst/>
              </a:prstGeom>
              <a:solidFill>
                <a:schemeClr val="bg1">
                  <a:lumMod val="85000"/>
                  <a:alpha val="1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srgbClr val="F2CCCC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1280" tIns="40640" rIns="81280" bIns="40640" rtlCol="0" anchor="ctr" anchorCtr="0">
                <a:noAutofit/>
              </a:bodyPr>
              <a:lstStyle/>
              <a:p>
                <a:pPr marL="152402" indent="-152402" algn="r">
                  <a:lnSpc>
                    <a:spcPct val="130000"/>
                  </a:lnSpc>
                  <a:buFont typeface="Arial" panose="020B0604020202020204" pitchFamily="34" charset="0"/>
                  <a:buChar char="•"/>
                </a:pPr>
                <a:endParaRPr kumimoji="1" lang="en-US" altLang="zh-CN" sz="933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14" name="iSļiḑe">
                <a:extLst>
                  <a:ext uri="{FF2B5EF4-FFF2-40B4-BE49-F238E27FC236}">
                    <a16:creationId xmlns:a16="http://schemas.microsoft.com/office/drawing/2014/main" id="{0ED4B320-90C8-FDA2-AAEF-E8515B569C50}"/>
                  </a:ext>
                </a:extLst>
              </p:cNvPr>
              <p:cNvSpPr/>
              <p:nvPr/>
            </p:nvSpPr>
            <p:spPr>
              <a:xfrm>
                <a:off x="889001" y="1931965"/>
                <a:ext cx="1084942" cy="695120"/>
              </a:xfrm>
              <a:prstGeom prst="homePlate">
                <a:avLst>
                  <a:gd name="adj" fmla="val 32683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1280" tIns="40640" rIns="81280" bIns="40640" rtlCol="0" anchor="ctr" anchorCtr="0">
                <a:noAutofit/>
              </a:bodyPr>
              <a:lstStyle/>
              <a:p>
                <a:pPr algn="ctr"/>
                <a:r>
                  <a:rPr kumimoji="1" lang="en-US" altLang="zh-CN" sz="2489" b="1" dirty="0">
                    <a:solidFill>
                      <a:srgbClr val="FFFFFF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01</a:t>
                </a:r>
              </a:p>
            </p:txBody>
          </p:sp>
          <p:sp>
            <p:nvSpPr>
              <p:cNvPr id="15" name="íŝľiḍé">
                <a:extLst>
                  <a:ext uri="{FF2B5EF4-FFF2-40B4-BE49-F238E27FC236}">
                    <a16:creationId xmlns:a16="http://schemas.microsoft.com/office/drawing/2014/main" id="{C2C7F5B2-C9C1-77E5-1358-9C7F592924E4}"/>
                  </a:ext>
                </a:extLst>
              </p:cNvPr>
              <p:cNvSpPr txBox="1"/>
              <p:nvPr/>
            </p:nvSpPr>
            <p:spPr>
              <a:xfrm>
                <a:off x="2084158" y="2094859"/>
                <a:ext cx="5111838" cy="4529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133" b="1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药品基本信息</a:t>
                </a:r>
                <a:endParaRPr lang="en-US" sz="2133" b="1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5" name="îṧlîďê">
              <a:extLst>
                <a:ext uri="{FF2B5EF4-FFF2-40B4-BE49-F238E27FC236}">
                  <a16:creationId xmlns:a16="http://schemas.microsoft.com/office/drawing/2014/main" id="{E65B647D-1F2D-2464-B407-F73662D58942}"/>
                </a:ext>
              </a:extLst>
            </p:cNvPr>
            <p:cNvGrpSpPr/>
            <p:nvPr/>
          </p:nvGrpSpPr>
          <p:grpSpPr>
            <a:xfrm>
              <a:off x="959759" y="3752210"/>
              <a:ext cx="4602226" cy="695121"/>
              <a:chOff x="889001" y="1931965"/>
              <a:chExt cx="4602226" cy="695121"/>
            </a:xfrm>
          </p:grpSpPr>
          <p:sp>
            <p:nvSpPr>
              <p:cNvPr id="10" name="ísḻíḍé">
                <a:extLst>
                  <a:ext uri="{FF2B5EF4-FFF2-40B4-BE49-F238E27FC236}">
                    <a16:creationId xmlns:a16="http://schemas.microsoft.com/office/drawing/2014/main" id="{D0498092-8F71-9DC1-A477-48A5B9F14BE5}"/>
                  </a:ext>
                </a:extLst>
              </p:cNvPr>
              <p:cNvSpPr/>
              <p:nvPr/>
            </p:nvSpPr>
            <p:spPr>
              <a:xfrm>
                <a:off x="889001" y="1931965"/>
                <a:ext cx="4265813" cy="695121"/>
              </a:xfrm>
              <a:prstGeom prst="rect">
                <a:avLst/>
              </a:prstGeom>
              <a:solidFill>
                <a:schemeClr val="bg1">
                  <a:lumMod val="75000"/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1280" tIns="40640" rIns="81280" bIns="40640" rtlCol="0" anchor="ctr" anchorCtr="0">
                <a:noAutofit/>
              </a:bodyPr>
              <a:lstStyle/>
              <a:p>
                <a:pPr marL="152402" indent="-152402" algn="r">
                  <a:lnSpc>
                    <a:spcPct val="130000"/>
                  </a:lnSpc>
                  <a:buFont typeface="Arial" panose="020B0604020202020204" pitchFamily="34" charset="0"/>
                  <a:buChar char="•"/>
                </a:pPr>
                <a:endParaRPr kumimoji="1" lang="en-US" altLang="zh-CN" sz="933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11" name="íṣḻîďê">
                <a:extLst>
                  <a:ext uri="{FF2B5EF4-FFF2-40B4-BE49-F238E27FC236}">
                    <a16:creationId xmlns:a16="http://schemas.microsoft.com/office/drawing/2014/main" id="{B95EF05D-4B27-6A8A-8596-459DAF3A0935}"/>
                  </a:ext>
                </a:extLst>
              </p:cNvPr>
              <p:cNvSpPr/>
              <p:nvPr/>
            </p:nvSpPr>
            <p:spPr>
              <a:xfrm>
                <a:off x="889001" y="1931965"/>
                <a:ext cx="1084942" cy="695120"/>
              </a:xfrm>
              <a:prstGeom prst="homePlate">
                <a:avLst>
                  <a:gd name="adj" fmla="val 24811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1280" tIns="40640" rIns="81280" bIns="40640" rtlCol="0" anchor="ctr" anchorCtr="0">
                <a:noAutofit/>
              </a:bodyPr>
              <a:lstStyle/>
              <a:p>
                <a:pPr algn="ctr"/>
                <a:r>
                  <a:rPr kumimoji="1" lang="en-US" altLang="zh-CN" sz="2489" b="1" dirty="0">
                    <a:solidFill>
                      <a:srgbClr val="FFFFFF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03</a:t>
                </a:r>
              </a:p>
            </p:txBody>
          </p:sp>
          <p:sp>
            <p:nvSpPr>
              <p:cNvPr id="12" name="îsḷïḑè">
                <a:extLst>
                  <a:ext uri="{FF2B5EF4-FFF2-40B4-BE49-F238E27FC236}">
                    <a16:creationId xmlns:a16="http://schemas.microsoft.com/office/drawing/2014/main" id="{1CD0B187-E95C-600B-B621-EBABBDFEA37A}"/>
                  </a:ext>
                </a:extLst>
              </p:cNvPr>
              <p:cNvSpPr txBox="1"/>
              <p:nvPr/>
            </p:nvSpPr>
            <p:spPr>
              <a:xfrm>
                <a:off x="2084159" y="2094859"/>
                <a:ext cx="3407068" cy="4529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133" b="1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有效性</a:t>
                </a:r>
                <a:endParaRPr lang="en-US" sz="2133" b="1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6" name="iṣlíḑé">
              <a:extLst>
                <a:ext uri="{FF2B5EF4-FFF2-40B4-BE49-F238E27FC236}">
                  <a16:creationId xmlns:a16="http://schemas.microsoft.com/office/drawing/2014/main" id="{A33F6F26-21BC-9647-7235-1D7ACAE316DA}"/>
                </a:ext>
              </a:extLst>
            </p:cNvPr>
            <p:cNvGrpSpPr/>
            <p:nvPr/>
          </p:nvGrpSpPr>
          <p:grpSpPr>
            <a:xfrm>
              <a:off x="959759" y="5006397"/>
              <a:ext cx="6306995" cy="695121"/>
              <a:chOff x="889001" y="1931965"/>
              <a:chExt cx="6306995" cy="695121"/>
            </a:xfrm>
          </p:grpSpPr>
          <p:sp>
            <p:nvSpPr>
              <p:cNvPr id="7" name="íṩľîḋé">
                <a:extLst>
                  <a:ext uri="{FF2B5EF4-FFF2-40B4-BE49-F238E27FC236}">
                    <a16:creationId xmlns:a16="http://schemas.microsoft.com/office/drawing/2014/main" id="{9BE9134A-83C7-0607-7D16-A132E3B46012}"/>
                  </a:ext>
                </a:extLst>
              </p:cNvPr>
              <p:cNvSpPr/>
              <p:nvPr/>
            </p:nvSpPr>
            <p:spPr>
              <a:xfrm>
                <a:off x="889001" y="1931965"/>
                <a:ext cx="4265813" cy="695121"/>
              </a:xfrm>
              <a:prstGeom prst="rect">
                <a:avLst/>
              </a:prstGeom>
              <a:solidFill>
                <a:schemeClr val="bg1">
                  <a:lumMod val="75000"/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1280" tIns="40640" rIns="81280" bIns="40640" rtlCol="0" anchor="ctr" anchorCtr="0">
                <a:noAutofit/>
              </a:bodyPr>
              <a:lstStyle/>
              <a:p>
                <a:pPr marL="152402" indent="-152402" algn="r">
                  <a:lnSpc>
                    <a:spcPct val="130000"/>
                  </a:lnSpc>
                  <a:buFont typeface="Arial" panose="020B0604020202020204" pitchFamily="34" charset="0"/>
                  <a:buChar char="•"/>
                </a:pPr>
                <a:endParaRPr kumimoji="1" lang="en-US" altLang="zh-CN" sz="933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8" name="íṣ1îḓè">
                <a:extLst>
                  <a:ext uri="{FF2B5EF4-FFF2-40B4-BE49-F238E27FC236}">
                    <a16:creationId xmlns:a16="http://schemas.microsoft.com/office/drawing/2014/main" id="{42E9FA2E-5E55-72D7-E54A-22F703990FCA}"/>
                  </a:ext>
                </a:extLst>
              </p:cNvPr>
              <p:cNvSpPr/>
              <p:nvPr/>
            </p:nvSpPr>
            <p:spPr>
              <a:xfrm>
                <a:off x="889001" y="1931965"/>
                <a:ext cx="1084942" cy="695120"/>
              </a:xfrm>
              <a:prstGeom prst="homePlate">
                <a:avLst>
                  <a:gd name="adj" fmla="val 26385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1280" tIns="40640" rIns="81280" bIns="40640" rtlCol="0" anchor="ctr" anchorCtr="0">
                <a:noAutofit/>
              </a:bodyPr>
              <a:lstStyle/>
              <a:p>
                <a:pPr algn="ctr"/>
                <a:r>
                  <a:rPr kumimoji="1" lang="en-US" altLang="zh-CN" sz="2489" b="1" dirty="0">
                    <a:solidFill>
                      <a:srgbClr val="FFFFFF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05</a:t>
                </a:r>
              </a:p>
            </p:txBody>
          </p:sp>
          <p:sp>
            <p:nvSpPr>
              <p:cNvPr id="9" name="išlïḓê">
                <a:extLst>
                  <a:ext uri="{FF2B5EF4-FFF2-40B4-BE49-F238E27FC236}">
                    <a16:creationId xmlns:a16="http://schemas.microsoft.com/office/drawing/2014/main" id="{0ACC6C0F-D501-14E2-C94B-FFE9ABD5C0AC}"/>
                  </a:ext>
                </a:extLst>
              </p:cNvPr>
              <p:cNvSpPr txBox="1"/>
              <p:nvPr/>
            </p:nvSpPr>
            <p:spPr>
              <a:xfrm>
                <a:off x="2084158" y="2094859"/>
                <a:ext cx="5111838" cy="4529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>
                  <a:defRPr kumimoji="0" sz="2000" b="1" i="0" u="none" strike="noStrike" cap="none" spc="0" normalizeH="0" baseline="0">
                    <a:ln>
                      <a:noFill/>
                    </a:ln>
                    <a:solidFill>
                      <a:schemeClr val="bg1">
                        <a:lumMod val="50000"/>
                      </a:schemeClr>
                    </a:solidFill>
                    <a:effectLst/>
                    <a:uLnTx/>
                    <a:uFillTx/>
                  </a:defRPr>
                </a:lvl1pPr>
              </a:lstStyle>
              <a:p>
                <a:r>
                  <a:rPr lang="zh-CN" altLang="en-US" sz="2133" dirty="0">
                    <a:solidFill>
                      <a:schemeClr val="tx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公平性</a:t>
                </a:r>
                <a:endParaRPr lang="en-US" sz="2133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</p:grpSp>
      <p:sp>
        <p:nvSpPr>
          <p:cNvPr id="16" name="Title 12">
            <a:extLst>
              <a:ext uri="{FF2B5EF4-FFF2-40B4-BE49-F238E27FC236}">
                <a16:creationId xmlns:a16="http://schemas.microsoft.com/office/drawing/2014/main" id="{F3AD508F-961D-091A-B227-D39B866BE4C3}"/>
              </a:ext>
            </a:extLst>
          </p:cNvPr>
          <p:cNvSpPr txBox="1">
            <a:spLocks/>
          </p:cNvSpPr>
          <p:nvPr/>
        </p:nvSpPr>
        <p:spPr>
          <a:xfrm>
            <a:off x="5292902" y="575657"/>
            <a:ext cx="1606197" cy="612220"/>
          </a:xfrm>
          <a:prstGeom prst="rect">
            <a:avLst/>
          </a:prstGeom>
        </p:spPr>
        <p:txBody>
          <a:bodyPr/>
          <a:lstStyle>
            <a:lvl1pPr algn="l" defTabSz="9876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75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44" b="1" dirty="0">
                <a:latin typeface="Arial" panose="020B0604020202020204" pitchFamily="34" charset="0"/>
                <a:ea typeface="微软雅黑" panose="020B0503020204020204" pitchFamily="34" charset="-122"/>
                <a:cs typeface="+mn-cs"/>
              </a:rPr>
              <a:t>目 录</a:t>
            </a:r>
          </a:p>
        </p:txBody>
      </p:sp>
      <p:grpSp>
        <p:nvGrpSpPr>
          <p:cNvPr id="17" name="组合 4">
            <a:extLst>
              <a:ext uri="{FF2B5EF4-FFF2-40B4-BE49-F238E27FC236}">
                <a16:creationId xmlns:a16="http://schemas.microsoft.com/office/drawing/2014/main" id="{054FC1EA-2754-41D5-DF09-38AD7542F82E}"/>
              </a:ext>
            </a:extLst>
          </p:cNvPr>
          <p:cNvGrpSpPr/>
          <p:nvPr/>
        </p:nvGrpSpPr>
        <p:grpSpPr>
          <a:xfrm>
            <a:off x="6315403" y="1891893"/>
            <a:ext cx="4520376" cy="1809767"/>
            <a:chOff x="959759" y="2498022"/>
            <a:chExt cx="6306995" cy="1949309"/>
          </a:xfrm>
        </p:grpSpPr>
        <p:grpSp>
          <p:nvGrpSpPr>
            <p:cNvPr id="18" name="îṣ1idè">
              <a:extLst>
                <a:ext uri="{FF2B5EF4-FFF2-40B4-BE49-F238E27FC236}">
                  <a16:creationId xmlns:a16="http://schemas.microsoft.com/office/drawing/2014/main" id="{55323B0F-33A0-F35D-0F43-A162965BBC55}"/>
                </a:ext>
              </a:extLst>
            </p:cNvPr>
            <p:cNvGrpSpPr/>
            <p:nvPr/>
          </p:nvGrpSpPr>
          <p:grpSpPr>
            <a:xfrm>
              <a:off x="959759" y="2498022"/>
              <a:ext cx="6306995" cy="695121"/>
              <a:chOff x="889001" y="1931965"/>
              <a:chExt cx="6306995" cy="695121"/>
            </a:xfrm>
          </p:grpSpPr>
          <p:sp>
            <p:nvSpPr>
              <p:cNvPr id="27" name="íṧḻïḍé">
                <a:extLst>
                  <a:ext uri="{FF2B5EF4-FFF2-40B4-BE49-F238E27FC236}">
                    <a16:creationId xmlns:a16="http://schemas.microsoft.com/office/drawing/2014/main" id="{8723CFE2-3155-6C21-22A9-71EE7F845A47}"/>
                  </a:ext>
                </a:extLst>
              </p:cNvPr>
              <p:cNvSpPr/>
              <p:nvPr/>
            </p:nvSpPr>
            <p:spPr>
              <a:xfrm>
                <a:off x="889001" y="1931965"/>
                <a:ext cx="4265813" cy="695121"/>
              </a:xfrm>
              <a:prstGeom prst="rect">
                <a:avLst/>
              </a:prstGeom>
              <a:solidFill>
                <a:schemeClr val="bg1">
                  <a:lumMod val="85000"/>
                  <a:alpha val="1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srgbClr val="F2CCCC">
                    <a:alpha val="4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1280" tIns="40640" rIns="81280" bIns="40640" rtlCol="0" anchor="ctr" anchorCtr="0">
                <a:noAutofit/>
              </a:bodyPr>
              <a:lstStyle/>
              <a:p>
                <a:pPr marL="152402" indent="-152402" algn="r">
                  <a:lnSpc>
                    <a:spcPct val="130000"/>
                  </a:lnSpc>
                  <a:buFont typeface="Arial" panose="020B0604020202020204" pitchFamily="34" charset="0"/>
                  <a:buChar char="•"/>
                </a:pPr>
                <a:endParaRPr kumimoji="1" lang="en-US" altLang="zh-CN" sz="933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8" name="iSļiḑe">
                <a:extLst>
                  <a:ext uri="{FF2B5EF4-FFF2-40B4-BE49-F238E27FC236}">
                    <a16:creationId xmlns:a16="http://schemas.microsoft.com/office/drawing/2014/main" id="{EB8306ED-5908-3876-0CD8-50D04A712245}"/>
                  </a:ext>
                </a:extLst>
              </p:cNvPr>
              <p:cNvSpPr/>
              <p:nvPr/>
            </p:nvSpPr>
            <p:spPr>
              <a:xfrm>
                <a:off x="889001" y="1931965"/>
                <a:ext cx="1084942" cy="695120"/>
              </a:xfrm>
              <a:prstGeom prst="homePlate">
                <a:avLst>
                  <a:gd name="adj" fmla="val 32683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1280" tIns="40640" rIns="81280" bIns="40640" rtlCol="0" anchor="ctr" anchorCtr="0">
                <a:noAutofit/>
              </a:bodyPr>
              <a:lstStyle/>
              <a:p>
                <a:pPr algn="ctr"/>
                <a:r>
                  <a:rPr kumimoji="1" lang="en-US" altLang="zh-CN" sz="2489" b="1" dirty="0">
                    <a:solidFill>
                      <a:srgbClr val="FFFFFF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02</a:t>
                </a:r>
              </a:p>
            </p:txBody>
          </p:sp>
          <p:sp>
            <p:nvSpPr>
              <p:cNvPr id="29" name="íŝľiḍé">
                <a:extLst>
                  <a:ext uri="{FF2B5EF4-FFF2-40B4-BE49-F238E27FC236}">
                    <a16:creationId xmlns:a16="http://schemas.microsoft.com/office/drawing/2014/main" id="{9C5A28B8-0083-C943-9531-A861964F2B7B}"/>
                  </a:ext>
                </a:extLst>
              </p:cNvPr>
              <p:cNvSpPr txBox="1"/>
              <p:nvPr/>
            </p:nvSpPr>
            <p:spPr>
              <a:xfrm>
                <a:off x="2084158" y="2094859"/>
                <a:ext cx="5111838" cy="4529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133" b="1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安全性</a:t>
                </a:r>
                <a:endParaRPr lang="en-US" sz="2133" b="1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19" name="îṧlîďê">
              <a:extLst>
                <a:ext uri="{FF2B5EF4-FFF2-40B4-BE49-F238E27FC236}">
                  <a16:creationId xmlns:a16="http://schemas.microsoft.com/office/drawing/2014/main" id="{0CC39886-3B0A-D3AB-6BB3-554863D498CF}"/>
                </a:ext>
              </a:extLst>
            </p:cNvPr>
            <p:cNvGrpSpPr/>
            <p:nvPr/>
          </p:nvGrpSpPr>
          <p:grpSpPr>
            <a:xfrm>
              <a:off x="959759" y="3752210"/>
              <a:ext cx="4602226" cy="695121"/>
              <a:chOff x="889001" y="1931965"/>
              <a:chExt cx="4602226" cy="695121"/>
            </a:xfrm>
          </p:grpSpPr>
          <p:sp>
            <p:nvSpPr>
              <p:cNvPr id="24" name="ísḻíḍé">
                <a:extLst>
                  <a:ext uri="{FF2B5EF4-FFF2-40B4-BE49-F238E27FC236}">
                    <a16:creationId xmlns:a16="http://schemas.microsoft.com/office/drawing/2014/main" id="{AA60D345-8425-9AFE-F97D-C57DD573C133}"/>
                  </a:ext>
                </a:extLst>
              </p:cNvPr>
              <p:cNvSpPr/>
              <p:nvPr/>
            </p:nvSpPr>
            <p:spPr>
              <a:xfrm>
                <a:off x="889001" y="1931965"/>
                <a:ext cx="4265813" cy="695121"/>
              </a:xfrm>
              <a:prstGeom prst="rect">
                <a:avLst/>
              </a:prstGeom>
              <a:solidFill>
                <a:schemeClr val="bg1">
                  <a:lumMod val="75000"/>
                  <a:alpha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1280" tIns="40640" rIns="81280" bIns="40640" rtlCol="0" anchor="ctr" anchorCtr="0">
                <a:noAutofit/>
              </a:bodyPr>
              <a:lstStyle/>
              <a:p>
                <a:pPr marL="152402" indent="-152402" algn="r">
                  <a:lnSpc>
                    <a:spcPct val="130000"/>
                  </a:lnSpc>
                  <a:buFont typeface="Arial" panose="020B0604020202020204" pitchFamily="34" charset="0"/>
                  <a:buChar char="•"/>
                </a:pPr>
                <a:endParaRPr kumimoji="1" lang="en-US" altLang="zh-CN" sz="933" dirty="0">
                  <a:solidFill>
                    <a:schemeClr val="tx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  <p:sp>
            <p:nvSpPr>
              <p:cNvPr id="25" name="íṣḻîďê">
                <a:extLst>
                  <a:ext uri="{FF2B5EF4-FFF2-40B4-BE49-F238E27FC236}">
                    <a16:creationId xmlns:a16="http://schemas.microsoft.com/office/drawing/2014/main" id="{CBF728B1-6C75-A4B5-77DB-FCC1C54CFC26}"/>
                  </a:ext>
                </a:extLst>
              </p:cNvPr>
              <p:cNvSpPr/>
              <p:nvPr/>
            </p:nvSpPr>
            <p:spPr>
              <a:xfrm>
                <a:off x="889001" y="1931965"/>
                <a:ext cx="1084942" cy="695120"/>
              </a:xfrm>
              <a:prstGeom prst="homePlate">
                <a:avLst>
                  <a:gd name="adj" fmla="val 24811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81280" tIns="40640" rIns="81280" bIns="40640" rtlCol="0" anchor="ctr" anchorCtr="0">
                <a:noAutofit/>
              </a:bodyPr>
              <a:lstStyle/>
              <a:p>
                <a:pPr algn="ctr"/>
                <a:r>
                  <a:rPr kumimoji="1" lang="en-US" altLang="zh-CN" sz="2489" b="1" dirty="0">
                    <a:solidFill>
                      <a:srgbClr val="FFFFFF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04</a:t>
                </a:r>
              </a:p>
            </p:txBody>
          </p:sp>
          <p:sp>
            <p:nvSpPr>
              <p:cNvPr id="26" name="îsḷïḑè">
                <a:extLst>
                  <a:ext uri="{FF2B5EF4-FFF2-40B4-BE49-F238E27FC236}">
                    <a16:creationId xmlns:a16="http://schemas.microsoft.com/office/drawing/2014/main" id="{C596A250-CF2A-B758-7E27-DA298D5B20B8}"/>
                  </a:ext>
                </a:extLst>
              </p:cNvPr>
              <p:cNvSpPr txBox="1"/>
              <p:nvPr/>
            </p:nvSpPr>
            <p:spPr>
              <a:xfrm>
                <a:off x="2084159" y="2094859"/>
                <a:ext cx="3407068" cy="4529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133" b="1" dirty="0">
                    <a:latin typeface="Arial" panose="020B0604020202020204" pitchFamily="34" charset="0"/>
                    <a:ea typeface="微软雅黑" panose="020B0503020204020204" pitchFamily="34" charset="-122"/>
                    <a:sym typeface="Arial" panose="020B0604020202020204" pitchFamily="34" charset="0"/>
                  </a:rPr>
                  <a:t>创新性</a:t>
                </a:r>
                <a:endParaRPr lang="en-US" sz="2133" b="1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endParaRPr>
              </a:p>
            </p:txBody>
          </p:sp>
        </p:grpSp>
      </p:grpSp>
      <p:pic>
        <p:nvPicPr>
          <p:cNvPr id="30" name="图片 70">
            <a:extLst>
              <a:ext uri="{FF2B5EF4-FFF2-40B4-BE49-F238E27FC236}">
                <a16:creationId xmlns:a16="http://schemas.microsoft.com/office/drawing/2014/main" id="{1E666C34-81A8-D20D-A264-3614CE7853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981" y="1910393"/>
            <a:ext cx="857714" cy="3005692"/>
          </a:xfrm>
          <a:prstGeom prst="rect">
            <a:avLst/>
          </a:prstGeom>
          <a:solidFill>
            <a:srgbClr val="C00000"/>
          </a:solidFill>
          <a:ln w="38100">
            <a:noFill/>
          </a:ln>
        </p:spPr>
      </p:pic>
    </p:spTree>
    <p:extLst>
      <p:ext uri="{BB962C8B-B14F-4D97-AF65-F5344CB8AC3E}">
        <p14:creationId xmlns:p14="http://schemas.microsoft.com/office/powerpoint/2010/main" val="21797326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a website&#10;&#10;Description automatically generated">
            <a:extLst>
              <a:ext uri="{FF2B5EF4-FFF2-40B4-BE49-F238E27FC236}">
                <a16:creationId xmlns:a16="http://schemas.microsoft.com/office/drawing/2014/main" id="{C2DDEC41-9CD8-4D03-5D08-A923549629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5693"/>
            <a:ext cx="12192000" cy="6677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7212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AD6CBD4-4261-694E-AAE4-F7FAE34FAF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466"/>
            <a:ext cx="12192000" cy="672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403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FC0CE668-9D01-8E49-98E8-4F7F466B3C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466"/>
            <a:ext cx="12192000" cy="672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8701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a graph&#10;&#10;Description automatically generated">
            <a:extLst>
              <a:ext uri="{FF2B5EF4-FFF2-40B4-BE49-F238E27FC236}">
                <a16:creationId xmlns:a16="http://schemas.microsoft.com/office/drawing/2014/main" id="{CF29B39C-C19E-BFB0-78E2-62503FD579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466"/>
            <a:ext cx="12192000" cy="672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2035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5DF14024-6453-9404-22F2-740C9FCF1B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466"/>
            <a:ext cx="12192000" cy="6635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2992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42A54F6-8F20-47E1-D565-33BC0E8316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4095"/>
            <a:ext cx="12192000" cy="6773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6660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a website&#10;&#10;Description automatically generated">
            <a:extLst>
              <a:ext uri="{FF2B5EF4-FFF2-40B4-BE49-F238E27FC236}">
                <a16:creationId xmlns:a16="http://schemas.microsoft.com/office/drawing/2014/main" id="{DB94BE81-87B2-2673-71D0-BE7134BC83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5466"/>
            <a:ext cx="12192000" cy="672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923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Office 主题">
  <a:themeElements>
    <a:clrScheme name="Taltz">
      <a:dk1>
        <a:srgbClr val="49AA42"/>
      </a:dk1>
      <a:lt1>
        <a:srgbClr val="FFFFFF"/>
      </a:lt1>
      <a:dk2>
        <a:srgbClr val="006125"/>
      </a:dk2>
      <a:lt2>
        <a:srgbClr val="E3ECED"/>
      </a:lt2>
      <a:accent1>
        <a:srgbClr val="BED12A"/>
      </a:accent1>
      <a:accent2>
        <a:srgbClr val="B3CB94"/>
      </a:accent2>
      <a:accent3>
        <a:srgbClr val="A9C3CA"/>
      </a:accent3>
      <a:accent4>
        <a:srgbClr val="3D5466"/>
      </a:accent4>
      <a:accent5>
        <a:srgbClr val="E3ECED"/>
      </a:accent5>
      <a:accent6>
        <a:srgbClr val="64478B"/>
      </a:accent6>
      <a:hlink>
        <a:srgbClr val="6FBDC3"/>
      </a:hlink>
      <a:folHlink>
        <a:srgbClr val="F093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wrap="square" lIns="90000">
        <a:spAutoFit/>
      </a:bodyPr>
      <a:lstStyle>
        <a:defPPr algn="l">
          <a:defRPr sz="1400" dirty="0">
            <a:solidFill>
              <a:schemeClr val="bg1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</TotalTime>
  <Words>138</Words>
  <Application>Microsoft Office PowerPoint</Application>
  <PresentationFormat>Widescreen</PresentationFormat>
  <Paragraphs>17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Microsoft YaHei</vt:lpstr>
      <vt:lpstr>Arial</vt:lpstr>
      <vt:lpstr>Arial Narrow</vt:lpstr>
      <vt:lpstr>Calibri</vt:lpstr>
      <vt:lpstr>Calibri Light</vt:lpstr>
      <vt:lpstr>Office Theme</vt:lpstr>
      <vt:lpstr>5_Office 主题</vt:lpstr>
      <vt:lpstr>think-cell Slide</vt:lpstr>
      <vt:lpstr>依奇珠单抗注射液 （拓咨®）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li Lilly an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依奇珠单抗注射液 （拓咨®）</dc:title>
  <dc:creator>Royi Chen</dc:creator>
  <cp:lastModifiedBy>Royi Chen</cp:lastModifiedBy>
  <cp:revision>1</cp:revision>
  <dcterms:created xsi:type="dcterms:W3CDTF">2023-07-13T03:08:45Z</dcterms:created>
  <dcterms:modified xsi:type="dcterms:W3CDTF">2023-07-13T03:21:01Z</dcterms:modified>
</cp:coreProperties>
</file>